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1" dt="2025-07-04T12:58:18.7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50" d="100"/>
          <a:sy n="50" d="100"/>
        </p:scale>
        <p:origin x="110" y="-8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2:59:09.791" v="4429" actId="14100"/>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2:59:09.791" v="4429" actId="14100"/>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2:11:53.989" v="4380"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2:12:00.166" v="4381" actId="1076"/>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emf"/><Relationship Id="rId17" Type="http://schemas.openxmlformats.org/officeDocument/2006/relationships/image" Target="../media/image11.png"/><Relationship Id="rId2" Type="http://schemas.openxmlformats.org/officeDocument/2006/relationships/slideLayout" Target="../slideLayouts/slideLayout1.xml"/><Relationship Id="rId16" Type="http://schemas.openxmlformats.org/officeDocument/2006/relationships/chart" Target="../charts/chart1.xml"/><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3.jp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563913" y="28191603"/>
            <a:ext cx="14217724"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64119" y="3807041"/>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6929493" y="31010872"/>
            <a:ext cx="6449752" cy="4364752"/>
          </a:xfrm>
          <a:prstGeom prst="rect">
            <a:avLst/>
          </a:prstGeom>
        </p:spPr>
      </p:pic>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43140" y="25426971"/>
            <a:ext cx="3325770" cy="2301759"/>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2279" y="22355196"/>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2"/>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3"/>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633676" y="17652922"/>
            <a:ext cx="6501830" cy="6370975"/>
          </a:xfrm>
          <a:prstGeom prst="rect">
            <a:avLst/>
          </a:prstGeom>
          <a:noFill/>
        </p:spPr>
        <p:txBody>
          <a:bodyPr wrap="square" rtlCol="0">
            <a:spAutoFit/>
          </a:bodyPr>
          <a:lstStyle/>
          <a:p>
            <a:r>
              <a:rPr lang="de-DE" sz="2400" b="1" dirty="0" err="1"/>
              <a:t>Comparative</a:t>
            </a:r>
            <a:r>
              <a:rPr lang="de-DE" sz="2400" b="1" dirty="0"/>
              <a:t> Shift Analysis</a:t>
            </a:r>
            <a:endParaRPr lang="en-US" sz="2400" b="1" dirty="0"/>
          </a:p>
          <a:p>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r>
              <a:rPr lang="en-US" sz="2400" dirty="0"/>
              <a:t>This scatterplot visualizes the resulting shift distances for each protein, comparing mitotic and non-synchronized conditions. Each point represents a protein and reflects its condition-specific RNA dependence. </a:t>
            </a:r>
          </a:p>
          <a:p>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95757" y="23876888"/>
            <a:ext cx="13817660" cy="1477328"/>
          </a:xfrm>
          <a:prstGeom prst="rect">
            <a:avLst/>
          </a:prstGeom>
          <a:noFill/>
        </p:spPr>
        <p:txBody>
          <a:bodyPr wrap="square" rtlCol="0">
            <a:spAutoFit/>
          </a:bodyPr>
          <a:lstStyle/>
          <a:p>
            <a:r>
              <a:rPr lang="en-US" sz="2400" dirty="0"/>
              <a:t>The red dashed identity line marks equal shifts across both cell states. Proteins falling below this line such as </a:t>
            </a:r>
            <a:r>
              <a:rPr lang="en-US" sz="2400" b="1" dirty="0" err="1"/>
              <a:t>RiboSix</a:t>
            </a:r>
            <a:r>
              <a:rPr lang="en-US" sz="2400" dirty="0"/>
              <a:t> show stronger RNA dependency during mitosis, suggesting their role is tightly linked to this specific cellular phase. Indeed, mitosis appears to be the active season for our little RBP hero.</a:t>
            </a:r>
          </a:p>
          <a:p>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20">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066</Words>
  <Application>Microsoft Office PowerPoint</Application>
  <PresentationFormat>Benutzerdefiniert</PresentationFormat>
  <Paragraphs>80</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7</cp:revision>
  <dcterms:created xsi:type="dcterms:W3CDTF">2025-06-30T15:36:19Z</dcterms:created>
  <dcterms:modified xsi:type="dcterms:W3CDTF">2025-07-04T12:59:14Z</dcterms:modified>
</cp:coreProperties>
</file>